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375" r:id="rId5"/>
    <p:sldId id="391" r:id="rId6"/>
    <p:sldId id="392" r:id="rId7"/>
    <p:sldId id="393" r:id="rId8"/>
    <p:sldId id="394" r:id="rId9"/>
    <p:sldId id="395" r:id="rId10"/>
    <p:sldId id="396" r:id="rId11"/>
    <p:sldId id="397" r:id="rId12"/>
    <p:sldId id="398" r:id="rId13"/>
    <p:sldId id="399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3246F17-C3ED-4936-94D6-48907A98DB5C}">
          <p14:sldIdLst>
            <p14:sldId id="375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7520" autoAdjust="0"/>
  </p:normalViewPr>
  <p:slideViewPr>
    <p:cSldViewPr snapToGrid="0" snapToObjects="1" showGuides="1">
      <p:cViewPr varScale="1">
        <p:scale>
          <a:sx n="67" d="100"/>
          <a:sy n="67" d="100"/>
        </p:scale>
        <p:origin x="50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17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17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9.pn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621384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Weekly Connect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 err="1"/>
              <a:t>Airsim</a:t>
            </a:r>
            <a:r>
              <a:rPr lang="en-US" dirty="0"/>
              <a:t> + VI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itvik Pandey</a:t>
            </a:r>
          </a:p>
          <a:p>
            <a:pPr lvl="1"/>
            <a:r>
              <a:rPr lang="en-US" dirty="0"/>
              <a:t>Intern H402743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17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2283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4C755807-C2D8-40B7-864B-6EAC17490F5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1921" y="1495424"/>
            <a:ext cx="10047231" cy="5362576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Pl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52E0EB-D334-431F-AAC1-0EE822415FB0}"/>
              </a:ext>
            </a:extLst>
          </p:cNvPr>
          <p:cNvSpPr txBox="1"/>
          <p:nvPr/>
        </p:nvSpPr>
        <p:spPr>
          <a:xfrm>
            <a:off x="495299" y="972657"/>
            <a:ext cx="1142047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he ground truth is published at much higher frequency </a:t>
            </a:r>
            <a:r>
              <a:rPr lang="en-US" b="1" dirty="0"/>
              <a:t>(150hz</a:t>
            </a:r>
            <a:r>
              <a:rPr lang="en-US" dirty="0"/>
              <a:t>) and VINS output is set to publish at </a:t>
            </a:r>
            <a:r>
              <a:rPr lang="en-US" b="1" dirty="0"/>
              <a:t>10hz</a:t>
            </a:r>
            <a:r>
              <a:rPr lang="en-US" dirty="0"/>
              <a:t> hence it was better to show it as points and not zigzag lin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17EF2-1B72-40DD-B00D-DA17773ACC30}"/>
              </a:ext>
            </a:extLst>
          </p:cNvPr>
          <p:cNvSpPr/>
          <p:nvPr/>
        </p:nvSpPr>
        <p:spPr>
          <a:xfrm>
            <a:off x="8448675" y="196317"/>
            <a:ext cx="3248025" cy="646331"/>
          </a:xfrm>
          <a:prstGeom prst="rect">
            <a:avLst/>
          </a:prstGeom>
          <a:ln w="28575"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r>
              <a:rPr lang="en-US" b="1" dirty="0"/>
              <a:t>Red: </a:t>
            </a:r>
            <a:r>
              <a:rPr lang="en-US" dirty="0"/>
              <a:t>Ground truth</a:t>
            </a:r>
          </a:p>
          <a:p>
            <a:r>
              <a:rPr lang="en-US" b="1" dirty="0"/>
              <a:t>Green: </a:t>
            </a:r>
            <a:r>
              <a:rPr lang="en-US" dirty="0"/>
              <a:t>pose-graph estimates</a:t>
            </a:r>
          </a:p>
        </p:txBody>
      </p:sp>
    </p:spTree>
    <p:extLst>
      <p:ext uri="{BB962C8B-B14F-4D97-AF65-F5344CB8AC3E}">
        <p14:creationId xmlns:p14="http://schemas.microsoft.com/office/powerpoint/2010/main" val="3424444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IMENSIONS of UPD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343026"/>
            <a:ext cx="5372100" cy="4457700"/>
          </a:xfrm>
        </p:spPr>
        <p:txBody>
          <a:bodyPr/>
          <a:lstStyle/>
          <a:p>
            <a:r>
              <a:rPr lang="en-US" dirty="0"/>
              <a:t>Translation Error</a:t>
            </a:r>
          </a:p>
          <a:p>
            <a:pPr lvl="1">
              <a:buNone/>
            </a:pPr>
            <a:endParaRPr lang="en-US" dirty="0"/>
          </a:p>
          <a:p>
            <a:r>
              <a:rPr lang="en-US" dirty="0"/>
              <a:t>Frequency test</a:t>
            </a:r>
          </a:p>
          <a:p>
            <a:pPr lvl="1">
              <a:buNone/>
            </a:pPr>
            <a:endParaRPr lang="en-US" dirty="0"/>
          </a:p>
          <a:p>
            <a:pPr lvl="0"/>
            <a:r>
              <a:rPr lang="en-US" dirty="0">
                <a:solidFill>
                  <a:prstClr val="black"/>
                </a:solidFill>
              </a:rPr>
              <a:t>Range of motion</a:t>
            </a:r>
            <a:br>
              <a:rPr lang="en-US" dirty="0">
                <a:solidFill>
                  <a:prstClr val="black"/>
                </a:solidFill>
              </a:rPr>
            </a:br>
            <a:endParaRPr lang="en-US" dirty="0">
              <a:solidFill>
                <a:prstClr val="black"/>
              </a:solidFill>
            </a:endParaRPr>
          </a:p>
          <a:p>
            <a:pPr lvl="0">
              <a:buFont typeface="+mj-lt"/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ode Architecture</a:t>
            </a:r>
          </a:p>
          <a:p>
            <a:pPr lvl="1"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Error Plots</a:t>
            </a:r>
          </a:p>
          <a:p>
            <a:pPr lvl="1"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0">
              <a:buAutoNum type="arabicPeriod" startAt="4"/>
            </a:pPr>
            <a:r>
              <a:rPr lang="en-US" dirty="0" err="1">
                <a:solidFill>
                  <a:prstClr val="black"/>
                </a:solidFill>
              </a:rPr>
              <a:t>ArduPilot</a:t>
            </a:r>
            <a:r>
              <a:rPr lang="en-US" dirty="0">
                <a:solidFill>
                  <a:prstClr val="black"/>
                </a:solidFill>
              </a:rPr>
              <a:t> - SITL</a:t>
            </a:r>
          </a:p>
          <a:p>
            <a:pPr marL="0" lvl="0" indent="0"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</a:t>
            </a:fld>
            <a:endParaRPr lang="en-US"/>
          </a:p>
        </p:txBody>
      </p:sp>
      <p:pic>
        <p:nvPicPr>
          <p:cNvPr id="71686" name="Picture 6" descr="Experiment with Visual Odometry - ROVIO - Blog - ArduPilot Discourse">
            <a:extLst>
              <a:ext uri="{FF2B5EF4-FFF2-40B4-BE49-F238E27FC236}">
                <a16:creationId xmlns:a16="http://schemas.microsoft.com/office/drawing/2014/main" id="{17B242A7-8914-48AB-8673-F62DF1882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183" y="495299"/>
            <a:ext cx="2747044" cy="159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CD1C13-F3A4-440C-8B3D-EB38118E16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7750" y="2248482"/>
            <a:ext cx="6972300" cy="423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590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lation err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8E7359-E084-44BB-B0FB-DCA3C0E297DB}"/>
              </a:ext>
            </a:extLst>
          </p:cNvPr>
          <p:cNvSpPr txBox="1"/>
          <p:nvPr/>
        </p:nvSpPr>
        <p:spPr>
          <a:xfrm>
            <a:off x="495299" y="1343025"/>
            <a:ext cx="5867401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Tweaks made: 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IMU initial standard deviation check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amera to IMU extrinsic co-ordinate fix </a:t>
            </a:r>
            <a:br>
              <a:rPr lang="en-US" dirty="0"/>
            </a:br>
            <a:r>
              <a:rPr lang="en-US" dirty="0"/>
              <a:t>(camera and IMU/body both follow a right-hand co-ordinate system but camera has +Z axis in forward direction while IMU has +X)</a:t>
            </a:r>
          </a:p>
        </p:txBody>
      </p:sp>
      <p:pic>
        <p:nvPicPr>
          <p:cNvPr id="5" name="Picture 4" descr="A picture containing game, dark, light, basketball&#10;&#10;Description automatically generated">
            <a:extLst>
              <a:ext uri="{FF2B5EF4-FFF2-40B4-BE49-F238E27FC236}">
                <a16:creationId xmlns:a16="http://schemas.microsoft.com/office/drawing/2014/main" id="{F26C1B13-9FD0-4757-9850-1668E2A9B55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176" y="3771806"/>
            <a:ext cx="3200400" cy="2945975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B1468BB7-586A-4AB6-90FA-00AA7151E0D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86225" y="3771806"/>
            <a:ext cx="2971799" cy="2936420"/>
          </a:xfrm>
          <a:prstGeom prst="rect">
            <a:avLst/>
          </a:prstGeom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A6E6D93F-158E-4367-857A-A0D649155EC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05673" y="2049143"/>
            <a:ext cx="4605336" cy="4668638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73CE22AF-E81F-421D-A6F6-A0B8A1334EAE}"/>
              </a:ext>
            </a:extLst>
          </p:cNvPr>
          <p:cNvGrpSpPr/>
          <p:nvPr/>
        </p:nvGrpSpPr>
        <p:grpSpPr>
          <a:xfrm>
            <a:off x="7363999" y="0"/>
            <a:ext cx="4084228" cy="2045967"/>
            <a:chOff x="7363999" y="0"/>
            <a:chExt cx="4084228" cy="2045967"/>
          </a:xfrm>
        </p:grpSpPr>
        <p:pic>
          <p:nvPicPr>
            <p:cNvPr id="72706" name="Picture 2" descr="Camera-imu frame transformation What is the parameter Tic Pc ...">
              <a:extLst>
                <a:ext uri="{FF2B5EF4-FFF2-40B4-BE49-F238E27FC236}">
                  <a16:creationId xmlns:a16="http://schemas.microsoft.com/office/drawing/2014/main" id="{11EA3FA7-836C-466A-9A0D-5E41E25AA0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3999" y="0"/>
              <a:ext cx="4084228" cy="20459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B6EE40D-8655-4DB0-A1E3-37A23C4EC9C1}"/>
                </a:ext>
              </a:extLst>
            </p:cNvPr>
            <p:cNvSpPr/>
            <p:nvPr/>
          </p:nvSpPr>
          <p:spPr>
            <a:xfrm>
              <a:off x="9124950" y="3176"/>
              <a:ext cx="876300" cy="777874"/>
            </a:xfrm>
            <a:prstGeom prst="rect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8A8993C-90ED-4E85-B9C4-916233DC64E0}"/>
                </a:ext>
              </a:extLst>
            </p:cNvPr>
            <p:cNvSpPr/>
            <p:nvPr/>
          </p:nvSpPr>
          <p:spPr>
            <a:xfrm>
              <a:off x="10002426" y="392112"/>
              <a:ext cx="779874" cy="693737"/>
            </a:xfrm>
            <a:prstGeom prst="rect">
              <a:avLst/>
            </a:pr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2710" name="Picture 6" descr="PDF] Pose Estimation of a Mobile Robot Based on Fusion of IMU Data ...">
            <a:extLst>
              <a:ext uri="{FF2B5EF4-FFF2-40B4-BE49-F238E27FC236}">
                <a16:creationId xmlns:a16="http://schemas.microsoft.com/office/drawing/2014/main" id="{A0C1A0B5-3AD7-4C35-AA97-51AC324C69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74"/>
          <a:stretch/>
        </p:blipFill>
        <p:spPr bwMode="auto">
          <a:xfrm>
            <a:off x="6007272" y="2371796"/>
            <a:ext cx="952502" cy="105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PDF] Pose Estimation of a Mobile Robot Based on Fusion of IMU Data ...">
            <a:extLst>
              <a:ext uri="{FF2B5EF4-FFF2-40B4-BE49-F238E27FC236}">
                <a16:creationId xmlns:a16="http://schemas.microsoft.com/office/drawing/2014/main" id="{8BCB55F8-1A01-4D66-9B34-005A6C031D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872"/>
          <a:stretch/>
        </p:blipFill>
        <p:spPr bwMode="auto">
          <a:xfrm>
            <a:off x="6069186" y="249622"/>
            <a:ext cx="828675" cy="876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PDF] Pose Estimation of a Mobile Robot Based on Fusion of IMU Data ...">
            <a:extLst>
              <a:ext uri="{FF2B5EF4-FFF2-40B4-BE49-F238E27FC236}">
                <a16:creationId xmlns:a16="http://schemas.microsoft.com/office/drawing/2014/main" id="{AA9ACC7F-90AB-45A6-95D9-F231CBB8FE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7" r="24202"/>
          <a:stretch/>
        </p:blipFill>
        <p:spPr bwMode="auto">
          <a:xfrm>
            <a:off x="6049548" y="1232418"/>
            <a:ext cx="828675" cy="1009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4527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4343401" cy="419100"/>
          </a:xfrm>
        </p:spPr>
        <p:txBody>
          <a:bodyPr/>
          <a:lstStyle/>
          <a:p>
            <a:r>
              <a:rPr lang="en-US" dirty="0"/>
              <a:t>Frequency TE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8E7359-E084-44BB-B0FB-DCA3C0E297DB}"/>
              </a:ext>
            </a:extLst>
          </p:cNvPr>
          <p:cNvSpPr txBox="1"/>
          <p:nvPr/>
        </p:nvSpPr>
        <p:spPr>
          <a:xfrm>
            <a:off x="495299" y="1343025"/>
            <a:ext cx="586740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Tweaks made: 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ROS wrapper publishing rate and delay duration changed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isabled all checks for lidar and other sensor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6D358DD-85DE-4750-B963-FAB9C551E4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554736"/>
              </p:ext>
            </p:extLst>
          </p:nvPr>
        </p:nvGraphicFramePr>
        <p:xfrm>
          <a:off x="552451" y="3529133"/>
          <a:ext cx="5029200" cy="2271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142385649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79697440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154811999"/>
                    </a:ext>
                  </a:extLst>
                </a:gridCol>
              </a:tblGrid>
              <a:tr h="684738">
                <a:tc>
                  <a:txBody>
                    <a:bodyPr/>
                    <a:lstStyle/>
                    <a:p>
                      <a:r>
                        <a:rPr lang="en-US" dirty="0"/>
                        <a:t>IMU topic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mage topic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INS output frequ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710622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 dirty="0"/>
                        <a:t>4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101128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 dirty="0"/>
                        <a:t>2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322693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 dirty="0"/>
                        <a:t>5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8026881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 dirty="0"/>
                        <a:t>2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 </a:t>
                      </a:r>
                      <a:r>
                        <a:rPr lang="en-US" dirty="0" err="1"/>
                        <a:t>hz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605832"/>
                  </a:ext>
                </a:extLst>
              </a:tr>
            </a:tbl>
          </a:graphicData>
        </a:graphic>
      </p:graphicFrame>
      <p:sp>
        <p:nvSpPr>
          <p:cNvPr id="18" name="Title 7">
            <a:extLst>
              <a:ext uri="{FF2B5EF4-FFF2-40B4-BE49-F238E27FC236}">
                <a16:creationId xmlns:a16="http://schemas.microsoft.com/office/drawing/2014/main" id="{25872303-3BAE-4452-A8EE-A0E9F54E4E4C}"/>
              </a:ext>
            </a:extLst>
          </p:cNvPr>
          <p:cNvSpPr txBox="1">
            <a:spLocks/>
          </p:cNvSpPr>
          <p:nvPr/>
        </p:nvSpPr>
        <p:spPr>
          <a:xfrm>
            <a:off x="6610351" y="495300"/>
            <a:ext cx="4343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ange of mo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ED97E74-7079-4FD4-9452-816A6509F83E}"/>
              </a:ext>
            </a:extLst>
          </p:cNvPr>
          <p:cNvSpPr txBox="1"/>
          <p:nvPr/>
        </p:nvSpPr>
        <p:spPr>
          <a:xfrm>
            <a:off x="6610351" y="1343025"/>
            <a:ext cx="5333999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Shapes tested: 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Bigger rectangle (~200m perimeter) with </a:t>
            </a:r>
            <a:r>
              <a:rPr lang="en-US" b="1" dirty="0"/>
              <a:t>no loop closure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Random directional motions 100-200m traversed.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eviations become significant as path length is increased beyond that without loop closure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ould not test path lengths </a:t>
            </a:r>
            <a:r>
              <a:rPr lang="en-US" dirty="0" err="1"/>
              <a:t>upto</a:t>
            </a:r>
            <a:r>
              <a:rPr lang="en-US" dirty="0"/>
              <a:t> a 1-2 km as drone moves out of environment and looses all features.</a:t>
            </a:r>
          </a:p>
        </p:txBody>
      </p:sp>
    </p:spTree>
    <p:extLst>
      <p:ext uri="{BB962C8B-B14F-4D97-AF65-F5344CB8AC3E}">
        <p14:creationId xmlns:p14="http://schemas.microsoft.com/office/powerpoint/2010/main" val="506927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9DE9CB9-E180-4AB2-95B5-F79BE415D6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15" y="1437940"/>
            <a:ext cx="11355385" cy="480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72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D72DF4-2E60-4B05-9EC6-F36C07D1FF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787" y="1209675"/>
            <a:ext cx="10734675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405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6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88B3FE-5561-4186-A7CA-5C2BE40596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72754"/>
            <a:ext cx="12192000" cy="391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56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7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68C138-9E7C-4EDD-A2E7-6056D06826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05037"/>
            <a:ext cx="12192000" cy="444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5794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FA65D0D-B9EC-4A71-B952-356B5CF538C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40" t="3905" r="6112" b="4700"/>
          <a:stretch/>
        </p:blipFill>
        <p:spPr>
          <a:xfrm>
            <a:off x="276226" y="3241633"/>
            <a:ext cx="4714876" cy="3476148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Pl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8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52E0EB-D334-431F-AAC1-0EE822415FB0}"/>
              </a:ext>
            </a:extLst>
          </p:cNvPr>
          <p:cNvSpPr txBox="1"/>
          <p:nvPr/>
        </p:nvSpPr>
        <p:spPr>
          <a:xfrm>
            <a:off x="495299" y="1181100"/>
            <a:ext cx="4305301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Red: </a:t>
            </a:r>
            <a:r>
              <a:rPr lang="en-US" dirty="0"/>
              <a:t>Ground truth</a:t>
            </a:r>
          </a:p>
          <a:p>
            <a:pPr algn="l"/>
            <a:r>
              <a:rPr lang="en-US" b="1" dirty="0"/>
              <a:t>Green: </a:t>
            </a:r>
            <a:r>
              <a:rPr lang="en-US" dirty="0"/>
              <a:t>pose-graph estimates</a:t>
            </a:r>
          </a:p>
          <a:p>
            <a:pPr algn="l"/>
            <a:endParaRPr lang="en-US" b="1" dirty="0"/>
          </a:p>
          <a:p>
            <a:pPr algn="l"/>
            <a:r>
              <a:rPr lang="en-US" dirty="0"/>
              <a:t>The ground truth is published at much higher frequency </a:t>
            </a:r>
            <a:r>
              <a:rPr lang="en-US" b="1" dirty="0"/>
              <a:t>(150hz</a:t>
            </a:r>
            <a:r>
              <a:rPr lang="en-US" dirty="0"/>
              <a:t>) and VINS output is set to publish at </a:t>
            </a:r>
            <a:r>
              <a:rPr lang="en-US" b="1" dirty="0"/>
              <a:t>10hz</a:t>
            </a:r>
            <a:r>
              <a:rPr lang="en-US" dirty="0"/>
              <a:t> hence it was better to show it as points and not zigzag lin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F03F33-007A-4675-872C-D3CC78AD70FB}"/>
              </a:ext>
            </a:extLst>
          </p:cNvPr>
          <p:cNvGrpSpPr/>
          <p:nvPr/>
        </p:nvGrpSpPr>
        <p:grpSpPr>
          <a:xfrm>
            <a:off x="5429249" y="432498"/>
            <a:ext cx="6557963" cy="5929185"/>
            <a:chOff x="5286374" y="1698545"/>
            <a:chExt cx="6557963" cy="5929185"/>
          </a:xfrm>
        </p:grpSpPr>
        <p:pic>
          <p:nvPicPr>
            <p:cNvPr id="5" name="Picture 4" descr="A close up of a map&#10;&#10;Description automatically generated">
              <a:extLst>
                <a:ext uri="{FF2B5EF4-FFF2-40B4-BE49-F238E27FC236}">
                  <a16:creationId xmlns:a16="http://schemas.microsoft.com/office/drawing/2014/main" id="{03442BF2-DB58-48DD-8B47-36E3A82BEA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86374" y="1698545"/>
              <a:ext cx="6486525" cy="1631431"/>
            </a:xfrm>
            <a:prstGeom prst="rect">
              <a:avLst/>
            </a:prstGeom>
          </p:spPr>
        </p:pic>
        <p:pic>
          <p:nvPicPr>
            <p:cNvPr id="10" name="Picture 9" descr="A close up of a map&#10;&#10;Description automatically generated">
              <a:extLst>
                <a:ext uri="{FF2B5EF4-FFF2-40B4-BE49-F238E27FC236}">
                  <a16:creationId xmlns:a16="http://schemas.microsoft.com/office/drawing/2014/main" id="{2DAD13A8-C56C-4596-A959-8868BF4F0B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57812" y="5996298"/>
              <a:ext cx="6486525" cy="1631432"/>
            </a:xfrm>
            <a:prstGeom prst="rect">
              <a:avLst/>
            </a:prstGeom>
          </p:spPr>
        </p:pic>
        <p:pic>
          <p:nvPicPr>
            <p:cNvPr id="11" name="Picture 10" descr="A close up of a map&#10;&#10;Description automatically generated">
              <a:extLst>
                <a:ext uri="{FF2B5EF4-FFF2-40B4-BE49-F238E27FC236}">
                  <a16:creationId xmlns:a16="http://schemas.microsoft.com/office/drawing/2014/main" id="{EEB2F3A9-F973-42FC-BE9B-80A9A71878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86374" y="3847421"/>
              <a:ext cx="6486525" cy="1631432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6594304-E165-4FC4-892D-38CEEB4A3BBB}"/>
              </a:ext>
            </a:extLst>
          </p:cNvPr>
          <p:cNvSpPr/>
          <p:nvPr/>
        </p:nvSpPr>
        <p:spPr>
          <a:xfrm>
            <a:off x="371475" y="1147811"/>
            <a:ext cx="3257550" cy="600075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087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3aa2a15c-b9df-4e5f-a901-6d0fe1a76846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ebcbd75c-e4ca-4927-bc28-c3380ef6dc55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5</TotalTime>
  <Words>206</Words>
  <Application>Microsoft Office PowerPoint</Application>
  <PresentationFormat>Widescreen</PresentationFormat>
  <Paragraphs>6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Arial Black</vt:lpstr>
      <vt:lpstr>Wingdings</vt:lpstr>
      <vt:lpstr>Honeywell 2019</vt:lpstr>
      <vt:lpstr>think-cell Slide</vt:lpstr>
      <vt:lpstr>Weekly Connect Airsim + VINS</vt:lpstr>
      <vt:lpstr>DIMENSIONS of UPDATES</vt:lpstr>
      <vt:lpstr>Translation error</vt:lpstr>
      <vt:lpstr>Frequency TEST</vt:lpstr>
      <vt:lpstr>Code Architecture (VINS)</vt:lpstr>
      <vt:lpstr>Code Architecture (VINS)</vt:lpstr>
      <vt:lpstr>Code Architecture (VINS)</vt:lpstr>
      <vt:lpstr>Code Architecture (VINS)</vt:lpstr>
      <vt:lpstr>Error Plots</vt:lpstr>
      <vt:lpstr>Error Plots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95</cp:revision>
  <dcterms:created xsi:type="dcterms:W3CDTF">2019-07-18T16:20:17Z</dcterms:created>
  <dcterms:modified xsi:type="dcterms:W3CDTF">2020-07-17T07:3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